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4"/>
    <p:sldMasterId id="2147483754" r:id="rId5"/>
  </p:sldMasterIdLst>
  <p:notesMasterIdLst>
    <p:notesMasterId r:id="rId7"/>
  </p:notesMasterIdLst>
  <p:sldIdLst>
    <p:sldId id="277" r:id="rId6"/>
  </p:sldIdLst>
  <p:sldSz cx="10691813" cy="7559675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 userDrawn="1">
          <p15:clr>
            <a:srgbClr val="A4A3A4"/>
          </p15:clr>
        </p15:guide>
        <p15:guide id="2" pos="3367" userDrawn="1">
          <p15:clr>
            <a:srgbClr val="A4A3A4"/>
          </p15:clr>
        </p15:guide>
        <p15:guide id="3" orient="horz" pos="4109" userDrawn="1">
          <p15:clr>
            <a:srgbClr val="A4A3A4"/>
          </p15:clr>
        </p15:guide>
        <p15:guide id="4" orient="horz" pos="436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2D97D5-EA99-6749-E664-10E0BFDAD51E}" name="Marikit Klein-Smith" initials="MK" userId="S::marikit.kleinsmith@ey.com::eade0072-422b-4564-8854-a62116e5611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4C4CD"/>
    <a:srgbClr val="747480"/>
    <a:srgbClr val="2E2E38"/>
    <a:srgbClr val="FFE600"/>
    <a:srgbClr val="2D2E39"/>
    <a:srgbClr val="FAE80B"/>
    <a:srgbClr val="F6F6FA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65736AE-2B4D-4B7E-B896-ADD3D6B2BA35}" v="2" dt="2025-02-14T12:00:03.60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48" autoAdjust="0"/>
    <p:restoredTop sz="94660"/>
  </p:normalViewPr>
  <p:slideViewPr>
    <p:cSldViewPr snapToGrid="0">
      <p:cViewPr varScale="1">
        <p:scale>
          <a:sx n="54" d="100"/>
          <a:sy n="54" d="100"/>
        </p:scale>
        <p:origin x="1052" y="60"/>
      </p:cViewPr>
      <p:guideLst>
        <p:guide orient="horz" pos="2381"/>
        <p:guide pos="3367"/>
        <p:guide orient="horz" pos="4109"/>
        <p:guide orient="horz" pos="43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a Biel" userId="ee1a03a6-ae04-44d1-b823-d97f549c10ae" providerId="ADAL" clId="{365736AE-2B4D-4B7E-B896-ADD3D6B2BA35}"/>
    <pc:docChg chg="custSel modSld">
      <pc:chgData name="Anna Biel" userId="ee1a03a6-ae04-44d1-b823-d97f549c10ae" providerId="ADAL" clId="{365736AE-2B4D-4B7E-B896-ADD3D6B2BA35}" dt="2025-02-14T12:00:08.415" v="13" actId="1076"/>
      <pc:docMkLst>
        <pc:docMk/>
      </pc:docMkLst>
      <pc:sldChg chg="addSp modSp mod">
        <pc:chgData name="Anna Biel" userId="ee1a03a6-ae04-44d1-b823-d97f549c10ae" providerId="ADAL" clId="{365736AE-2B4D-4B7E-B896-ADD3D6B2BA35}" dt="2025-02-14T12:00:08.415" v="13" actId="1076"/>
        <pc:sldMkLst>
          <pc:docMk/>
          <pc:sldMk cId="1402642887" sldId="277"/>
        </pc:sldMkLst>
        <pc:spChg chg="mod">
          <ac:chgData name="Anna Biel" userId="ee1a03a6-ae04-44d1-b823-d97f549c10ae" providerId="ADAL" clId="{365736AE-2B4D-4B7E-B896-ADD3D6B2BA35}" dt="2025-02-14T10:27:18.047" v="4" actId="1036"/>
          <ac:spMkLst>
            <pc:docMk/>
            <pc:sldMk cId="1402642887" sldId="277"/>
            <ac:spMk id="4" creationId="{6A93213F-C442-1A07-2609-EF42D2616734}"/>
          </ac:spMkLst>
        </pc:spChg>
        <pc:spChg chg="mod">
          <ac:chgData name="Anna Biel" userId="ee1a03a6-ae04-44d1-b823-d97f549c10ae" providerId="ADAL" clId="{365736AE-2B4D-4B7E-B896-ADD3D6B2BA35}" dt="2025-02-14T10:27:18.047" v="4" actId="1036"/>
          <ac:spMkLst>
            <pc:docMk/>
            <pc:sldMk cId="1402642887" sldId="277"/>
            <ac:spMk id="11" creationId="{71978308-D202-DBC5-98CF-8C8B570442F8}"/>
          </ac:spMkLst>
        </pc:spChg>
        <pc:picChg chg="add mod">
          <ac:chgData name="Anna Biel" userId="ee1a03a6-ae04-44d1-b823-d97f549c10ae" providerId="ADAL" clId="{365736AE-2B4D-4B7E-B896-ADD3D6B2BA35}" dt="2025-02-14T10:27:59.459" v="7" actId="1076"/>
          <ac:picMkLst>
            <pc:docMk/>
            <pc:sldMk cId="1402642887" sldId="277"/>
            <ac:picMk id="3" creationId="{F607639F-3825-179F-7E24-46908538CB9E}"/>
          </ac:picMkLst>
        </pc:picChg>
        <pc:picChg chg="add mod">
          <ac:chgData name="Anna Biel" userId="ee1a03a6-ae04-44d1-b823-d97f549c10ae" providerId="ADAL" clId="{365736AE-2B4D-4B7E-B896-ADD3D6B2BA35}" dt="2025-02-14T12:00:08.415" v="13" actId="1076"/>
          <ac:picMkLst>
            <pc:docMk/>
            <pc:sldMk cId="1402642887" sldId="277"/>
            <ac:picMk id="14" creationId="{95C4C7D3-D659-F544-44D2-D286415FDF3A}"/>
          </ac:picMkLst>
        </pc:picChg>
        <pc:cxnChg chg="mod">
          <ac:chgData name="Anna Biel" userId="ee1a03a6-ae04-44d1-b823-d97f549c10ae" providerId="ADAL" clId="{365736AE-2B4D-4B7E-B896-ADD3D6B2BA35}" dt="2025-02-14T10:27:12.006" v="2" actId="554"/>
          <ac:cxnSpMkLst>
            <pc:docMk/>
            <pc:sldMk cId="1402642887" sldId="277"/>
            <ac:cxnSpMk id="12" creationId="{326FACFB-26DE-0925-A2A8-9C2E4E863C04}"/>
          </ac:cxnSpMkLst>
        </pc:cxnChg>
        <pc:cxnChg chg="mod">
          <ac:chgData name="Anna Biel" userId="ee1a03a6-ae04-44d1-b823-d97f549c10ae" providerId="ADAL" clId="{365736AE-2B4D-4B7E-B896-ADD3D6B2BA35}" dt="2025-02-14T10:27:12.006" v="2" actId="554"/>
          <ac:cxnSpMkLst>
            <pc:docMk/>
            <pc:sldMk cId="1402642887" sldId="277"/>
            <ac:cxnSpMk id="13" creationId="{E8B2BA2E-06CA-3778-D428-0CC3E4F7F0D8}"/>
          </ac:cxnSpMkLst>
        </pc:cxnChg>
      </pc:sldChg>
    </pc:docChg>
  </pc:docChgLst>
</pc:chgInfo>
</file>

<file path=ppt/notesMasters/_rels/notesMaster1.xml.rels><?xml version="1.0" encoding="UTF-8" standalone="yes"?>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9A6EE5-A575-49BE-94AC-084D560828E8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5ABD20-FD9C-4D04-9F28-FDC6210EEA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9774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1pPr>
    <a:lvl2pPr marL="497754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2pPr>
    <a:lvl3pPr marL="995507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3pPr>
    <a:lvl4pPr marL="1493261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4pPr>
    <a:lvl5pPr marL="1991015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5pPr>
    <a:lvl6pPr marL="2488768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53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58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59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9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8532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8532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4927" y="6519798"/>
            <a:ext cx="504862" cy="634933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4">
            <a:extLst>
              <a:ext uri="{FF2B5EF4-FFF2-40B4-BE49-F238E27FC236}">
                <a16:creationId xmlns:a16="http://schemas.microsoft.com/office/drawing/2014/main" id="{6B891F47-1BBE-4926-81DF-B17907D2F8E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0A2A4AEF-C603-4360-9387-8879E7186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4797EE6-BAEA-4DA7-95C2-6B09B77D31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413420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4111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8102" y="0"/>
            <a:ext cx="5233711" cy="7559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046" y="2842586"/>
            <a:ext cx="3977506" cy="1163723"/>
          </a:xfrm>
        </p:spPr>
        <p:txBody>
          <a:bodyPr/>
          <a:lstStyle>
            <a:lvl1pPr marL="0" indent="0">
              <a:buNone/>
              <a:defRPr sz="263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4046" y="4233312"/>
            <a:ext cx="3977506" cy="1163723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38097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34590" y="1254347"/>
            <a:ext cx="4345237" cy="470408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2455" y="4203444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2455" y="4470913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66796" y="3944174"/>
            <a:ext cx="682755" cy="85865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6796" y="1254347"/>
            <a:ext cx="4790427" cy="4120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6796" y="1802295"/>
            <a:ext cx="4790427" cy="1776440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6775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09811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6697" y="2271027"/>
            <a:ext cx="4638420" cy="333507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6697" y="6070093"/>
            <a:ext cx="4638420" cy="3492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26697" y="6414058"/>
            <a:ext cx="4638420" cy="3492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402" dirty="0" smtClean="0"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321112" y="1080034"/>
            <a:ext cx="2049589" cy="972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7807034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18397" y="1641266"/>
            <a:ext cx="2049589" cy="946710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950" y="2785290"/>
            <a:ext cx="4638420" cy="1984167"/>
          </a:xfrm>
        </p:spPr>
        <p:txBody>
          <a:bodyPr lIns="90000" tIns="46800" rIns="90000" bIns="46800"/>
          <a:lstStyle>
            <a:lvl1pPr marL="0" indent="0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950" y="5106766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950" y="5480094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9038527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12574">
              <a:defRPr>
                <a:solidFill>
                  <a:schemeClr val="bg1"/>
                </a:solidFill>
              </a:defRPr>
            </a:lvl2pPr>
            <a:lvl3pPr marL="625148">
              <a:defRPr>
                <a:solidFill>
                  <a:schemeClr val="bg1"/>
                </a:solidFill>
              </a:defRPr>
            </a:lvl3pPr>
            <a:lvl4pPr marL="937722">
              <a:defRPr>
                <a:solidFill>
                  <a:schemeClr val="bg1"/>
                </a:solidFill>
              </a:defRPr>
            </a:lvl4pPr>
            <a:lvl5pPr marL="1250296"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48311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56273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591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005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9097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984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957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591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3957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71602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942201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7779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37295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8222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4067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7175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691813" cy="755967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6259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1557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628894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3" y="0"/>
            <a:ext cx="10686252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25787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6652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4193057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828353" y="3527770"/>
            <a:ext cx="4214220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/>
        </p:nvSpPr>
        <p:spPr>
          <a:xfrm>
            <a:off x="428928" y="797699"/>
            <a:ext cx="4979329" cy="3806176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2892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679020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92900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</p:spTree>
    <p:extLst>
      <p:ext uri="{BB962C8B-B14F-4D97-AF65-F5344CB8AC3E}">
        <p14:creationId xmlns:p14="http://schemas.microsoft.com/office/powerpoint/2010/main" val="3442932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837000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8532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8532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4927" y="6519798"/>
            <a:ext cx="504862" cy="634933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218617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/>
        </p:nvGrpSpPr>
        <p:grpSpPr>
          <a:xfrm>
            <a:off x="428928" y="965692"/>
            <a:ext cx="4255650" cy="3719734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3506369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352" y="3527770"/>
            <a:ext cx="3524067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83249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4193057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828353" y="3527770"/>
            <a:ext cx="4214220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/>
        </p:nvSpPr>
        <p:spPr>
          <a:xfrm>
            <a:off x="428928" y="797699"/>
            <a:ext cx="4979329" cy="3806176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2892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679020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92900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</p:spTree>
    <p:extLst>
      <p:ext uri="{BB962C8B-B14F-4D97-AF65-F5344CB8AC3E}">
        <p14:creationId xmlns:p14="http://schemas.microsoft.com/office/powerpoint/2010/main" val="2651623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34590" y="1254347"/>
            <a:ext cx="4345237" cy="470408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2455" y="4203444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2455" y="4470913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66796" y="3944174"/>
            <a:ext cx="682755" cy="85865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6796" y="1254347"/>
            <a:ext cx="4790427" cy="4120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6796" y="1802295"/>
            <a:ext cx="4790427" cy="1776440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57201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6091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86502" y="1"/>
            <a:ext cx="3505313" cy="678596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2" y="324301"/>
            <a:ext cx="6525011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6398112" cy="96315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34591" y="2547892"/>
            <a:ext cx="3137961" cy="4238074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794743" y="2547892"/>
            <a:ext cx="3137961" cy="13831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4743" y="4670201"/>
            <a:ext cx="3137961" cy="2143076"/>
          </a:xfrm>
        </p:spPr>
        <p:txBody>
          <a:bodyPr numCol="1"/>
          <a:lstStyle>
            <a:lvl1pPr marL="0" indent="0">
              <a:buNone/>
              <a:defRPr sz="157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676993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66803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089971" cy="755967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416" y="324301"/>
            <a:ext cx="7793808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2415" y="1254347"/>
            <a:ext cx="2404127" cy="553161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19769" y="1254347"/>
            <a:ext cx="2457558" cy="553161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730553" y="1254348"/>
            <a:ext cx="2426669" cy="30822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2416" y="1000626"/>
            <a:ext cx="779380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97748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18397" y="1641266"/>
            <a:ext cx="2049589" cy="946710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950" y="2785290"/>
            <a:ext cx="4638420" cy="1984167"/>
          </a:xfrm>
        </p:spPr>
        <p:txBody>
          <a:bodyPr lIns="90000" tIns="46800" rIns="90000" bIns="46800"/>
          <a:lstStyle>
            <a:lvl1pPr marL="0" indent="0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950" y="5106766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950" y="5480094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6603229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6697" y="2271027"/>
            <a:ext cx="4638420" cy="333507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6697" y="6070093"/>
            <a:ext cx="4638420" cy="3492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26697" y="6414058"/>
            <a:ext cx="4638420" cy="3492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321112" y="1080034"/>
            <a:ext cx="2049589" cy="972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9038135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8928" y="958547"/>
            <a:ext cx="4249277" cy="4336314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3506369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352" y="3527770"/>
            <a:ext cx="3524067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63236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3031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7004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691813" cy="755967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572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86406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6640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19608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984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957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591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3957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7008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8102" y="0"/>
            <a:ext cx="5233711" cy="7559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046" y="2842586"/>
            <a:ext cx="3977506" cy="1163723"/>
          </a:xfrm>
        </p:spPr>
        <p:txBody>
          <a:bodyPr/>
          <a:lstStyle>
            <a:lvl1pPr marL="0" indent="0">
              <a:buNone/>
              <a:defRPr sz="263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4046" y="4233312"/>
            <a:ext cx="3977506" cy="1163723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32848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20250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8103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9433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66860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10283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latin typeface="EYInterstate Light" panose="02000506000000020004" pitchFamily="2" charset="0"/>
                <a:ea typeface="+mj-ea"/>
                <a:cs typeface="+mj-cs"/>
              </a:rPr>
              <a:t>successfully completed the 2023 Better Working World Data Challenge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C97D50-130A-4A23-A252-E7DADE010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74762" y="7314931"/>
            <a:ext cx="3854125" cy="402483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>
                <a:solidFill>
                  <a:srgbClr val="444444"/>
                </a:solidFill>
                <a:latin typeface="Segoe UI" panose="020B0502040204020203" pitchFamily="34" charset="0"/>
              </a:rPr>
              <a:t>© 2023 EYGM Limited. All Rights Reserved.</a:t>
            </a:r>
            <a:endParaRPr lang="en-GB" dirty="0"/>
          </a:p>
          <a:p>
            <a:endParaRPr lang="en-GB" dirty="0"/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606500"/>
            <a:ext cx="2367926" cy="505789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BDFDF024-768B-4E7C-9782-521852E5584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8589" y="1429950"/>
            <a:ext cx="2364691" cy="60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4439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semi-finalist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168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finalist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5479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runner-up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8468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winner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279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2583D832-9DE7-4AF6-B54B-C93C0E1630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6341" y="137764"/>
            <a:ext cx="10179130" cy="7177167"/>
          </a:xfrm>
          <a:prstGeom prst="rect">
            <a:avLst/>
          </a:prstGeom>
        </p:spPr>
      </p:pic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7157" y="606500"/>
            <a:ext cx="2367926" cy="505789"/>
          </a:xfrm>
          <a:prstGeom prst="rect">
            <a:avLst/>
          </a:prstGeom>
        </p:spPr>
      </p:pic>
      <p:pic>
        <p:nvPicPr>
          <p:cNvPr id="22" name="Graphic 20">
            <a:extLst>
              <a:ext uri="{FF2B5EF4-FFF2-40B4-BE49-F238E27FC236}">
                <a16:creationId xmlns:a16="http://schemas.microsoft.com/office/drawing/2014/main" id="{2B2F2FDE-E459-4A2A-8BA3-B5A5C8D78A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8589" y="1429950"/>
            <a:ext cx="2364691" cy="60196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257270" y="2544457"/>
            <a:ext cx="10177272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latin typeface="EYInterstate Light" panose="02000506000000020004" pitchFamily="2" charset="0"/>
                <a:ea typeface="+mj-ea"/>
                <a:cs typeface="+mj-cs"/>
              </a:rPr>
              <a:t>successfully completed the 2023 Better Working World Data Challenge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257270" y="6945599"/>
            <a:ext cx="10177272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2BB68D-F8A9-44D7-A9A7-79F066CFE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74762" y="7314931"/>
            <a:ext cx="3854125" cy="402483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>
                <a:solidFill>
                  <a:srgbClr val="444444"/>
                </a:solidFill>
                <a:latin typeface="Segoe UI" panose="020B0502040204020203" pitchFamily="34" charset="0"/>
              </a:rPr>
              <a:t>© 2023 EYGM Limited. All Rights Reserved.</a:t>
            </a:r>
            <a:endParaRPr lang="en-GB" dirty="0"/>
          </a:p>
          <a:p>
            <a:endParaRPr lang="en-GB" dirty="0"/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</p:spTree>
    <p:extLst>
      <p:ext uri="{BB962C8B-B14F-4D97-AF65-F5344CB8AC3E}">
        <p14:creationId xmlns:p14="http://schemas.microsoft.com/office/powerpoint/2010/main" val="3111229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latin typeface="EYInterstate Light" panose="02000506000000020004" pitchFamily="2" charset="0"/>
                <a:ea typeface="+mj-ea"/>
                <a:cs typeface="+mj-cs"/>
              </a:rPr>
              <a:t>successfully completed the 2023 Better Working World Data Challenge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23" name="Rectangle 8">
            <a:extLst>
              <a:ext uri="{FF2B5EF4-FFF2-40B4-BE49-F238E27FC236}">
                <a16:creationId xmlns:a16="http://schemas.microsoft.com/office/drawing/2014/main" id="{B27D91F6-FDE6-438D-B76B-5878BECBE70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57270" y="269875"/>
            <a:ext cx="10177272" cy="7019925"/>
          </a:xfrm>
          <a:prstGeom prst="rect">
            <a:avLst/>
          </a:prstGeom>
          <a:noFill/>
          <a:ln w="23813" cap="flat" cmpd="dbl">
            <a:solidFill>
              <a:srgbClr val="747480"/>
            </a:solidFill>
            <a:prstDash val="dash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277377EB-28DB-47B4-B9AF-499570F4399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66687" y="152400"/>
            <a:ext cx="10358438" cy="7199881"/>
          </a:xfrm>
          <a:prstGeom prst="rect">
            <a:avLst/>
          </a:prstGeom>
          <a:noFill/>
          <a:ln w="23813" cap="flat" cmpd="dbl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8B1DE5B3-FC16-47CF-9F30-1BC68AC58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74762" y="7314931"/>
            <a:ext cx="3854125" cy="402483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>
                <a:solidFill>
                  <a:srgbClr val="444444"/>
                </a:solidFill>
                <a:latin typeface="Segoe UI" panose="020B0502040204020203" pitchFamily="34" charset="0"/>
              </a:rPr>
              <a:t>© 2023 EYGM Limited. All Rights Reserved.</a:t>
            </a:r>
            <a:endParaRPr lang="en-GB" dirty="0"/>
          </a:p>
          <a:p>
            <a:endParaRPr lang="en-GB" dirty="0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257270" y="6920468"/>
            <a:ext cx="10177272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257270" y="2544457"/>
            <a:ext cx="10177272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606500"/>
            <a:ext cx="2367926" cy="505789"/>
          </a:xfrm>
          <a:prstGeom prst="rect">
            <a:avLst/>
          </a:prstGeom>
        </p:spPr>
      </p:pic>
      <p:pic>
        <p:nvPicPr>
          <p:cNvPr id="22" name="Graphic 20">
            <a:extLst>
              <a:ext uri="{FF2B5EF4-FFF2-40B4-BE49-F238E27FC236}">
                <a16:creationId xmlns:a16="http://schemas.microsoft.com/office/drawing/2014/main" id="{2B2F2FDE-E459-4A2A-8BA3-B5A5C8D78AE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8589" y="1429950"/>
            <a:ext cx="2364691" cy="601960"/>
          </a:xfrm>
          <a:prstGeom prst="rect">
            <a:avLst/>
          </a:prstGeom>
        </p:spPr>
      </p:pic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06264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finalist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134A261-A167-4F58-87E0-F338841AE911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696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96102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runner-up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26C2D4-B85B-41DF-9F88-C4AC13A221F7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0172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winner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5E3987-3B16-4B7B-8F8D-4B8F9C35145F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6493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8532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8532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4927" y="6519798"/>
            <a:ext cx="504862" cy="634933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374085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4928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928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535188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4193057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828353" y="3527770"/>
            <a:ext cx="4214220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/>
        </p:nvSpPr>
        <p:spPr>
          <a:xfrm>
            <a:off x="428928" y="797699"/>
            <a:ext cx="4979329" cy="3806176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2892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679020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92900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</p:spTree>
    <p:extLst>
      <p:ext uri="{BB962C8B-B14F-4D97-AF65-F5344CB8AC3E}">
        <p14:creationId xmlns:p14="http://schemas.microsoft.com/office/powerpoint/2010/main" val="34024113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/>
        </p:nvGrpSpPr>
        <p:grpSpPr>
          <a:xfrm>
            <a:off x="428928" y="965692"/>
            <a:ext cx="4255650" cy="3719734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3506369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352" y="3527770"/>
            <a:ext cx="3524067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42958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63E5D-D4D4-47A0-B3D2-9C348E301267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2990847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E02A-78D6-48B7-A389-464ED573BA5D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758493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86502" y="1"/>
            <a:ext cx="3505313" cy="678596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2" y="324301"/>
            <a:ext cx="6525011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6398112" cy="96315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34591" y="2547892"/>
            <a:ext cx="3137961" cy="4238074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794743" y="2547892"/>
            <a:ext cx="3137961" cy="13831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4743" y="4670201"/>
            <a:ext cx="3137961" cy="2143076"/>
          </a:xfrm>
        </p:spPr>
        <p:txBody>
          <a:bodyPr numCol="1"/>
          <a:lstStyle>
            <a:lvl1pPr marL="0" indent="0">
              <a:buNone/>
              <a:defRPr sz="157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676993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49E8CE-5235-4494-B0FD-9ECC8206E96E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986206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089971" cy="755967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416" y="324301"/>
            <a:ext cx="7793808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2415" y="1254347"/>
            <a:ext cx="2404127" cy="553161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19769" y="1254347"/>
            <a:ext cx="2457558" cy="553161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730553" y="1254348"/>
            <a:ext cx="2426669" cy="30822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2416" y="1000626"/>
            <a:ext cx="779380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FB1ADCF-7548-48F2-B4E3-18B2C0EE8460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190943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86502" y="1"/>
            <a:ext cx="3505313" cy="678596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2" y="324301"/>
            <a:ext cx="6525011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6398112" cy="96315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34591" y="2547892"/>
            <a:ext cx="3137961" cy="4238074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794743" y="2547892"/>
            <a:ext cx="3137961" cy="13831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4743" y="4670201"/>
            <a:ext cx="3137961" cy="2143076"/>
          </a:xfrm>
        </p:spPr>
        <p:txBody>
          <a:bodyPr numCol="1"/>
          <a:lstStyle>
            <a:lvl1pPr marL="0" indent="0">
              <a:buNone/>
              <a:defRPr sz="157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652501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81404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57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227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6D130-B426-4A46-85E5-B0049A4DA5C7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5265814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95EDC0-9791-477B-BA1D-1692FE9BFBAA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448102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FBFE83-FB75-47BB-81F0-F0FF13E5BA5A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28637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18397" y="1641266"/>
            <a:ext cx="2049589" cy="946710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950" y="2785290"/>
            <a:ext cx="4638420" cy="1984167"/>
          </a:xfrm>
        </p:spPr>
        <p:txBody>
          <a:bodyPr lIns="90000" tIns="46800" rIns="90000" bIns="46800"/>
          <a:lstStyle>
            <a:lvl1pPr marL="0" indent="0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950" y="5106766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950" y="5480094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67057265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6697" y="2271027"/>
            <a:ext cx="4638420" cy="333507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6697" y="6070093"/>
            <a:ext cx="4638420" cy="3492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26697" y="6414058"/>
            <a:ext cx="4638420" cy="3492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321112" y="1080034"/>
            <a:ext cx="2049589" cy="972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4932238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8102" y="0"/>
            <a:ext cx="5233711" cy="7559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046" y="2842586"/>
            <a:ext cx="3977506" cy="1163723"/>
          </a:xfrm>
        </p:spPr>
        <p:txBody>
          <a:bodyPr/>
          <a:lstStyle>
            <a:lvl1pPr marL="0" indent="0">
              <a:buNone/>
              <a:defRPr sz="263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4046" y="4233312"/>
            <a:ext cx="3977506" cy="1163723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057AB47-DE48-402E-B5B7-CB9A0D0B7D44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709447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34590" y="1254347"/>
            <a:ext cx="4345237" cy="470408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2455" y="4203444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2455" y="4470913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66796" y="3944174"/>
            <a:ext cx="682755" cy="85865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6796" y="1254347"/>
            <a:ext cx="4790427" cy="4120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6796" y="1802295"/>
            <a:ext cx="4790427" cy="1776440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6AD1DFC-053D-4B86-B715-9C611EC38679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803481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252450" y="7133348"/>
            <a:ext cx="1044134" cy="1984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AD1DFC-053D-4B86-B715-9C611EC38679}" type="datetime3">
              <a:rPr lang="en-US" smtClean="0"/>
              <a:pPr/>
              <a:t>14 February 2025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839138" y="7133348"/>
            <a:ext cx="2704956" cy="1984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540992" y="7133348"/>
            <a:ext cx="581175" cy="1984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76778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12574">
              <a:defRPr>
                <a:solidFill>
                  <a:schemeClr val="bg1"/>
                </a:solidFill>
              </a:defRPr>
            </a:lvl2pPr>
            <a:lvl3pPr marL="625148">
              <a:defRPr>
                <a:solidFill>
                  <a:schemeClr val="bg1"/>
                </a:solidFill>
              </a:defRPr>
            </a:lvl3pPr>
            <a:lvl4pPr marL="937722">
              <a:defRPr>
                <a:solidFill>
                  <a:schemeClr val="bg1"/>
                </a:solidFill>
              </a:defRPr>
            </a:lvl4pPr>
            <a:lvl5pPr marL="1250296"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4D46D-36B7-425F-AEB7-676F0E436ACC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249933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83591-978A-463D-B9B3-9852A288C9B6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152007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089971" cy="755967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416" y="324301"/>
            <a:ext cx="7793808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2415" y="1254347"/>
            <a:ext cx="2404127" cy="553161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19769" y="1254347"/>
            <a:ext cx="2457558" cy="553161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730553" y="1254348"/>
            <a:ext cx="2426669" cy="30822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2416" y="1000626"/>
            <a:ext cx="779380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51430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591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005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CAE4F-17A3-4837-8418-FB6AD56A8907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949370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984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957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591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3957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29E1942-EB53-47E3-BCA7-F99D05C795EC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1421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88E1-FE33-48AD-9218-9258D62CDCC4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678891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8F4A-3FA1-4A64-AE77-2254BB85F3D2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715796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BADE3-2F67-4EB8-B1F9-B00F8B809757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3320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9080-1DFC-4303-893C-6B8A3FEC05E8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66434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088154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691813" cy="755967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381BA6-C3FD-495B-9B56-A30783EC7416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2658226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985693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15706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57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227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96037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3" y="0"/>
            <a:ext cx="10686252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351581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92340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 descr="A white circle with yellow lines&#10;&#10;Description automatically generated">
            <a:extLst>
              <a:ext uri="{FF2B5EF4-FFF2-40B4-BE49-F238E27FC236}">
                <a16:creationId xmlns:a16="http://schemas.microsoft.com/office/drawing/2014/main" id="{19C03405-DDBC-D7EF-EE8B-1E3539F68E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2"/>
          <a:stretch/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Right Triangle 1">
            <a:extLst>
              <a:ext uri="{FF2B5EF4-FFF2-40B4-BE49-F238E27FC236}">
                <a16:creationId xmlns:a16="http://schemas.microsoft.com/office/drawing/2014/main" id="{D44C8846-825E-EE10-3034-35D6DD60D3B6}"/>
              </a:ext>
            </a:extLst>
          </p:cNvPr>
          <p:cNvSpPr/>
          <p:nvPr userDrawn="1"/>
        </p:nvSpPr>
        <p:spPr>
          <a:xfrm rot="10800000">
            <a:off x="8345773" y="0"/>
            <a:ext cx="2346040" cy="2042016"/>
          </a:xfrm>
          <a:prstGeom prst="rtTriangle">
            <a:avLst/>
          </a:prstGeom>
          <a:solidFill>
            <a:srgbClr val="2D2E3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26496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2A4959B-EEEF-BC01-5212-50777D4986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205" t="28614" r="25302" b="28614"/>
          <a:stretch/>
        </p:blipFill>
        <p:spPr>
          <a:xfrm>
            <a:off x="-1" y="0"/>
            <a:ext cx="10691814" cy="755967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68599072-661E-0DE6-3E5C-F590384F435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4338" y="366626"/>
            <a:ext cx="9863138" cy="6826424"/>
          </a:xfrm>
          <a:prstGeom prst="rect">
            <a:avLst/>
          </a:prstGeom>
        </p:spPr>
      </p:pic>
      <p:sp>
        <p:nvSpPr>
          <p:cNvPr id="4" name="Graphic 13">
            <a:extLst>
              <a:ext uri="{FF2B5EF4-FFF2-40B4-BE49-F238E27FC236}">
                <a16:creationId xmlns:a16="http://schemas.microsoft.com/office/drawing/2014/main" id="{20A8FE85-EEEB-6044-3D3D-FB1D8CE487C1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0"/>
            <a:ext cx="2904100" cy="7559362"/>
          </a:xfrm>
          <a:custGeom>
            <a:avLst/>
            <a:gdLst>
              <a:gd name="connsiteX0" fmla="*/ 2333149 w 2333244"/>
              <a:gd name="connsiteY0" fmla="*/ 5357051 h 6073425"/>
              <a:gd name="connsiteX1" fmla="*/ 2225612 w 2333244"/>
              <a:gd name="connsiteY1" fmla="*/ 6073426 h 6073425"/>
              <a:gd name="connsiteX2" fmla="*/ 0 w 2333244"/>
              <a:gd name="connsiteY2" fmla="*/ 6073426 h 6073425"/>
              <a:gd name="connsiteX3" fmla="*/ 0 w 2333244"/>
              <a:gd name="connsiteY3" fmla="*/ 0 h 6073425"/>
              <a:gd name="connsiteX4" fmla="*/ 878015 w 2333244"/>
              <a:gd name="connsiteY4" fmla="*/ 0 h 6073425"/>
              <a:gd name="connsiteX5" fmla="*/ 876110 w 2333244"/>
              <a:gd name="connsiteY5" fmla="*/ 3619 h 6073425"/>
              <a:gd name="connsiteX6" fmla="*/ 717899 w 2333244"/>
              <a:gd name="connsiteY6" fmla="*/ 1297400 h 6073425"/>
              <a:gd name="connsiteX7" fmla="*/ 1233107 w 2333244"/>
              <a:gd name="connsiteY7" fmla="*/ 2631281 h 6073425"/>
              <a:gd name="connsiteX8" fmla="*/ 1949863 w 2333244"/>
              <a:gd name="connsiteY8" fmla="*/ 3914204 h 6073425"/>
              <a:gd name="connsiteX9" fmla="*/ 2330291 w 2333244"/>
              <a:gd name="connsiteY9" fmla="*/ 5238941 h 6073425"/>
              <a:gd name="connsiteX10" fmla="*/ 2333244 w 2333244"/>
              <a:gd name="connsiteY10" fmla="*/ 5357051 h 607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33244" h="6073425">
                <a:moveTo>
                  <a:pt x="2333149" y="5357051"/>
                </a:moveTo>
                <a:cubicBezTo>
                  <a:pt x="2333149" y="5587175"/>
                  <a:pt x="2299716" y="5856447"/>
                  <a:pt x="2225612" y="6073426"/>
                </a:cubicBezTo>
                <a:cubicBezTo>
                  <a:pt x="877348" y="1238"/>
                  <a:pt x="876586" y="2381"/>
                  <a:pt x="876110" y="3619"/>
                </a:cubicBezTo>
                <a:cubicBezTo>
                  <a:pt x="674561" y="399193"/>
                  <a:pt x="644652" y="865061"/>
                  <a:pt x="717899" y="1297400"/>
                </a:cubicBezTo>
                <a:cubicBezTo>
                  <a:pt x="798100" y="1771269"/>
                  <a:pt x="1003459" y="2213039"/>
                  <a:pt x="1233107" y="2631281"/>
                </a:cubicBezTo>
                <a:cubicBezTo>
                  <a:pt x="1468946" y="3060669"/>
                  <a:pt x="1735455" y="3473101"/>
                  <a:pt x="1949863" y="3914204"/>
                </a:cubicBezTo>
                <a:cubicBezTo>
                  <a:pt x="2151793" y="4329780"/>
                  <a:pt x="2307527" y="4774025"/>
                  <a:pt x="2330291" y="5238941"/>
                </a:cubicBezTo>
                <a:cubicBezTo>
                  <a:pt x="2332196" y="5278184"/>
                  <a:pt x="2333244" y="5317617"/>
                  <a:pt x="2333244" y="5357051"/>
                </a:cubicBezTo>
                <a:lnTo>
                  <a:pt x="0" y="6073426"/>
                </a:lnTo>
                <a:lnTo>
                  <a:pt x="0" y="0"/>
                </a:lnTo>
                <a:lnTo>
                  <a:pt x="878015" y="0"/>
                </a:lnTo>
                <a:close/>
              </a:path>
            </a:pathLst>
          </a:custGeom>
          <a:solidFill>
            <a:srgbClr val="C4C4C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Graphic 13">
            <a:extLst>
              <a:ext uri="{FF2B5EF4-FFF2-40B4-BE49-F238E27FC236}">
                <a16:creationId xmlns:a16="http://schemas.microsoft.com/office/drawing/2014/main" id="{C2085C4A-E897-41AA-1CA5-41194C830896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2904100" cy="7559362"/>
          </a:xfrm>
          <a:custGeom>
            <a:avLst/>
            <a:gdLst>
              <a:gd name="connsiteX0" fmla="*/ 2333149 w 2333244"/>
              <a:gd name="connsiteY0" fmla="*/ 5357051 h 6073425"/>
              <a:gd name="connsiteX1" fmla="*/ 2225612 w 2333244"/>
              <a:gd name="connsiteY1" fmla="*/ 6073426 h 6073425"/>
              <a:gd name="connsiteX2" fmla="*/ 0 w 2333244"/>
              <a:gd name="connsiteY2" fmla="*/ 6073426 h 6073425"/>
              <a:gd name="connsiteX3" fmla="*/ 0 w 2333244"/>
              <a:gd name="connsiteY3" fmla="*/ 0 h 6073425"/>
              <a:gd name="connsiteX4" fmla="*/ 878015 w 2333244"/>
              <a:gd name="connsiteY4" fmla="*/ 0 h 6073425"/>
              <a:gd name="connsiteX5" fmla="*/ 876110 w 2333244"/>
              <a:gd name="connsiteY5" fmla="*/ 3619 h 6073425"/>
              <a:gd name="connsiteX6" fmla="*/ 717899 w 2333244"/>
              <a:gd name="connsiteY6" fmla="*/ 1297400 h 6073425"/>
              <a:gd name="connsiteX7" fmla="*/ 1233107 w 2333244"/>
              <a:gd name="connsiteY7" fmla="*/ 2631281 h 6073425"/>
              <a:gd name="connsiteX8" fmla="*/ 1949863 w 2333244"/>
              <a:gd name="connsiteY8" fmla="*/ 3914204 h 6073425"/>
              <a:gd name="connsiteX9" fmla="*/ 2330291 w 2333244"/>
              <a:gd name="connsiteY9" fmla="*/ 5238941 h 6073425"/>
              <a:gd name="connsiteX10" fmla="*/ 2333244 w 2333244"/>
              <a:gd name="connsiteY10" fmla="*/ 5357051 h 607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33244" h="6073425">
                <a:moveTo>
                  <a:pt x="2333149" y="5357051"/>
                </a:moveTo>
                <a:cubicBezTo>
                  <a:pt x="2333149" y="5587175"/>
                  <a:pt x="2299716" y="5856447"/>
                  <a:pt x="2225612" y="6073426"/>
                </a:cubicBezTo>
                <a:cubicBezTo>
                  <a:pt x="877348" y="1238"/>
                  <a:pt x="876586" y="2381"/>
                  <a:pt x="876110" y="3619"/>
                </a:cubicBezTo>
                <a:cubicBezTo>
                  <a:pt x="674561" y="399193"/>
                  <a:pt x="644652" y="865061"/>
                  <a:pt x="717899" y="1297400"/>
                </a:cubicBezTo>
                <a:cubicBezTo>
                  <a:pt x="798100" y="1771269"/>
                  <a:pt x="1003459" y="2213039"/>
                  <a:pt x="1233107" y="2631281"/>
                </a:cubicBezTo>
                <a:cubicBezTo>
                  <a:pt x="1468946" y="3060669"/>
                  <a:pt x="1735455" y="3473101"/>
                  <a:pt x="1949863" y="3914204"/>
                </a:cubicBezTo>
                <a:cubicBezTo>
                  <a:pt x="2151793" y="4329780"/>
                  <a:pt x="2307527" y="4774025"/>
                  <a:pt x="2330291" y="5238941"/>
                </a:cubicBezTo>
                <a:cubicBezTo>
                  <a:pt x="2332196" y="5278184"/>
                  <a:pt x="2333244" y="5317617"/>
                  <a:pt x="2333244" y="5357051"/>
                </a:cubicBezTo>
                <a:lnTo>
                  <a:pt x="0" y="6073426"/>
                </a:lnTo>
                <a:lnTo>
                  <a:pt x="0" y="0"/>
                </a:lnTo>
                <a:lnTo>
                  <a:pt x="878015" y="0"/>
                </a:lnTo>
                <a:close/>
              </a:path>
            </a:pathLst>
          </a:custGeom>
          <a:solidFill>
            <a:srgbClr val="74748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Graphic 10">
            <a:extLst>
              <a:ext uri="{FF2B5EF4-FFF2-40B4-BE49-F238E27FC236}">
                <a16:creationId xmlns:a16="http://schemas.microsoft.com/office/drawing/2014/main" id="{93B4917C-9F14-B833-EEB5-25D4BECDA513}"/>
              </a:ext>
            </a:extLst>
          </p:cNvPr>
          <p:cNvSpPr/>
          <p:nvPr userDrawn="1"/>
        </p:nvSpPr>
        <p:spPr>
          <a:xfrm>
            <a:off x="0" y="0"/>
            <a:ext cx="3263900" cy="7559362"/>
          </a:xfrm>
          <a:custGeom>
            <a:avLst/>
            <a:gdLst>
              <a:gd name="connsiteX0" fmla="*/ 2444020 w 2605909"/>
              <a:gd name="connsiteY0" fmla="*/ 1162431 h 6035421"/>
              <a:gd name="connsiteX1" fmla="*/ 1756220 w 2605909"/>
              <a:gd name="connsiteY1" fmla="*/ 2387251 h 6035421"/>
              <a:gd name="connsiteX2" fmla="*/ 1101852 w 2605909"/>
              <a:gd name="connsiteY2" fmla="*/ 3630930 h 6035421"/>
              <a:gd name="connsiteX3" fmla="*/ 943166 w 2605909"/>
              <a:gd name="connsiteY3" fmla="*/ 4970145 h 6035421"/>
              <a:gd name="connsiteX4" fmla="*/ 1189958 w 2605909"/>
              <a:gd name="connsiteY4" fmla="*/ 6035421 h 6035421"/>
              <a:gd name="connsiteX5" fmla="*/ 0 w 2605909"/>
              <a:gd name="connsiteY5" fmla="*/ 6035421 h 6035421"/>
              <a:gd name="connsiteX6" fmla="*/ 0 w 2605909"/>
              <a:gd name="connsiteY6" fmla="*/ 0 h 6035421"/>
              <a:gd name="connsiteX7" fmla="*/ 2573846 w 2605909"/>
              <a:gd name="connsiteY7" fmla="*/ 0 h 6035421"/>
              <a:gd name="connsiteX8" fmla="*/ 2444020 w 2605909"/>
              <a:gd name="connsiteY8" fmla="*/ 1162431 h 603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05909" h="6035421">
                <a:moveTo>
                  <a:pt x="2444020" y="1162431"/>
                </a:moveTo>
                <a:cubicBezTo>
                  <a:pt x="2280095" y="1604486"/>
                  <a:pt x="2014061" y="1995869"/>
                  <a:pt x="1756220" y="2387251"/>
                </a:cubicBezTo>
                <a:cubicBezTo>
                  <a:pt x="1497425" y="2779871"/>
                  <a:pt x="1247013" y="3180302"/>
                  <a:pt x="1101852" y="3630930"/>
                </a:cubicBezTo>
                <a:cubicBezTo>
                  <a:pt x="963263" y="4061841"/>
                  <a:pt x="910781" y="4518851"/>
                  <a:pt x="943166" y="4970145"/>
                </a:cubicBezTo>
                <a:cubicBezTo>
                  <a:pt x="969359" y="5335239"/>
                  <a:pt x="1052132" y="5696331"/>
                  <a:pt x="1189958" y="6035421"/>
                </a:cubicBezTo>
                <a:cubicBezTo>
                  <a:pt x="2651570" y="387096"/>
                  <a:pt x="2580132" y="795338"/>
                  <a:pt x="2444020" y="1162431"/>
                </a:cubicBezTo>
                <a:lnTo>
                  <a:pt x="0" y="6035421"/>
                </a:lnTo>
                <a:lnTo>
                  <a:pt x="0" y="0"/>
                </a:lnTo>
                <a:lnTo>
                  <a:pt x="2573846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28631D1-2090-6593-7B25-5419D99F133A}"/>
              </a:ext>
            </a:extLst>
          </p:cNvPr>
          <p:cNvGrpSpPr/>
          <p:nvPr userDrawn="1"/>
        </p:nvGrpSpPr>
        <p:grpSpPr>
          <a:xfrm>
            <a:off x="1343820" y="-22717"/>
            <a:ext cx="2324237" cy="7582392"/>
            <a:chOff x="1343820" y="-22717"/>
            <a:chExt cx="2315599" cy="7554213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470819D5-2245-D9B3-999A-26E1A3F69A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38520" y="-22717"/>
              <a:ext cx="2120899" cy="7554213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0C214F12-9E84-7340-6A98-ACF79E5972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43820" y="-22717"/>
              <a:ext cx="2120899" cy="75542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050677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74697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<Relationships xmlns="http://schemas.openxmlformats.org/package/2006/relationships"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33" Type="http://schemas.openxmlformats.org/officeDocument/2006/relationships/slideLayout" Target="../slideLayouts/slideLayout94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0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32" Type="http://schemas.openxmlformats.org/officeDocument/2006/relationships/slideLayout" Target="../slideLayouts/slideLayout93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31" Type="http://schemas.openxmlformats.org/officeDocument/2006/relationships/slideLayout" Target="../slideLayouts/slideLayout92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91.xml"/><Relationship Id="rId8" Type="http://schemas.openxmlformats.org/officeDocument/2006/relationships/slideLayout" Target="../slideLayouts/slideLayout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2450" y="7133348"/>
            <a:ext cx="1044134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defRPr lang="en-IN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39138" y="7133348"/>
            <a:ext cx="2704956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defRPr lang="en-IN" sz="701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992" y="7133348"/>
            <a:ext cx="581175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defRPr lang="en-IN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93128" y="7006699"/>
            <a:ext cx="265765" cy="342985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03D6A76-0837-4695-8F12-1C2D4292EA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1296832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395" imgH="396" progId="TCLayout.ActiveDocument.1">
                  <p:embed/>
                </p:oleObj>
              </mc:Choice>
              <mc:Fallback>
                <p:oleObj name="think-cell Slide" r:id="rId64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03D6A76-0837-4695-8F12-1C2D4292E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34233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  <p:sldLayoutId id="2147483737" r:id="rId36"/>
    <p:sldLayoutId id="2147483738" r:id="rId37"/>
    <p:sldLayoutId id="2147483739" r:id="rId38"/>
    <p:sldLayoutId id="2147483740" r:id="rId39"/>
    <p:sldLayoutId id="2147483741" r:id="rId40"/>
    <p:sldLayoutId id="2147483742" r:id="rId41"/>
    <p:sldLayoutId id="2147483743" r:id="rId42"/>
    <p:sldLayoutId id="2147483744" r:id="rId43"/>
    <p:sldLayoutId id="2147483745" r:id="rId44"/>
    <p:sldLayoutId id="2147483746" r:id="rId45"/>
    <p:sldLayoutId id="2147483747" r:id="rId46"/>
    <p:sldLayoutId id="2147483748" r:id="rId47"/>
    <p:sldLayoutId id="2147483749" r:id="rId48"/>
    <p:sldLayoutId id="2147483750" r:id="rId49"/>
    <p:sldLayoutId id="2147483751" r:id="rId50"/>
    <p:sldLayoutId id="2147483752" r:id="rId51"/>
    <p:sldLayoutId id="2147483753" r:id="rId52"/>
    <p:sldLayoutId id="2147483691" r:id="rId53"/>
    <p:sldLayoutId id="2147483692" r:id="rId54"/>
    <p:sldLayoutId id="2147483693" r:id="rId55"/>
    <p:sldLayoutId id="2147483694" r:id="rId56"/>
    <p:sldLayoutId id="2147483699" r:id="rId57"/>
    <p:sldLayoutId id="2147483700" r:id="rId58"/>
    <p:sldLayoutId id="2147483696" r:id="rId59"/>
    <p:sldLayoutId id="2147483697" r:id="rId60"/>
    <p:sldLayoutId id="2147483698" r:id="rId61"/>
  </p:sldLayoutIdLst>
  <p:txStyles>
    <p:titleStyle>
      <a:lvl1pPr algn="l" defTabSz="801472" rtl="0" eaLnBrk="1" latinLnBrk="0" hangingPunct="1">
        <a:lnSpc>
          <a:spcPct val="85000"/>
        </a:lnSpc>
        <a:spcBef>
          <a:spcPct val="0"/>
        </a:spcBef>
        <a:buNone/>
        <a:defRPr sz="2104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12574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53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625148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7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937722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250296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2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562870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5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204047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6pPr>
      <a:lvl7pPr marL="2604783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7pPr>
      <a:lvl8pPr marL="3005519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8pPr>
      <a:lvl9pPr marL="3406254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1pPr>
      <a:lvl2pPr marL="40073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2pPr>
      <a:lvl3pPr marL="801472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3pPr>
      <a:lvl4pPr marL="1202207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4pPr>
      <a:lvl5pPr marL="1602943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5pPr>
      <a:lvl6pPr marL="2003679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6pPr>
      <a:lvl7pPr marL="2404415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7pPr>
      <a:lvl8pPr marL="2805151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8pPr>
      <a:lvl9pPr marL="320588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2450" y="7133348"/>
            <a:ext cx="1044134" cy="198417"/>
          </a:xfrm>
          <a:prstGeom prst="rect">
            <a:avLst/>
          </a:prstGeom>
        </p:spPr>
        <p:txBody>
          <a:bodyPr/>
          <a:lstStyle>
            <a:lvl1pPr marL="0" algn="l" defTabSz="801472" rtl="0" eaLnBrk="1" latinLnBrk="0" hangingPunct="1">
              <a:defRPr lang="en-US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A7100257-1BC6-4873-8F55-DA97C4F73818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39138" y="7133348"/>
            <a:ext cx="2704956" cy="198417"/>
          </a:xfrm>
          <a:prstGeom prst="rect">
            <a:avLst/>
          </a:prstGeom>
        </p:spPr>
        <p:txBody>
          <a:bodyPr/>
          <a:lstStyle>
            <a:lvl1pPr marL="0" algn="l" defTabSz="801472" rtl="0" eaLnBrk="1" latinLnBrk="0" hangingPunct="1">
              <a:defRPr lang="en-US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992" y="7133348"/>
            <a:ext cx="581175" cy="198417"/>
          </a:xfrm>
          <a:prstGeom prst="rect">
            <a:avLst/>
          </a:prstGeom>
        </p:spPr>
        <p:txBody>
          <a:bodyPr/>
          <a:lstStyle>
            <a:lvl1pPr marL="0" algn="l" defTabSz="801472" rtl="0" eaLnBrk="1" latinLnBrk="0" hangingPunct="1">
              <a:defRPr lang="en-GB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93128" y="7006699"/>
            <a:ext cx="265765" cy="342985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338154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  <p:sldLayoutId id="2147483774" r:id="rId20"/>
    <p:sldLayoutId id="2147483775" r:id="rId21"/>
    <p:sldLayoutId id="2147483776" r:id="rId22"/>
    <p:sldLayoutId id="2147483777" r:id="rId23"/>
    <p:sldLayoutId id="2147483778" r:id="rId24"/>
    <p:sldLayoutId id="2147483779" r:id="rId25"/>
    <p:sldLayoutId id="2147483780" r:id="rId26"/>
    <p:sldLayoutId id="2147483781" r:id="rId27"/>
    <p:sldLayoutId id="2147483782" r:id="rId28"/>
    <p:sldLayoutId id="2147483783" r:id="rId29"/>
    <p:sldLayoutId id="2147483784" r:id="rId30"/>
    <p:sldLayoutId id="2147483787" r:id="rId31"/>
    <p:sldLayoutId id="2147483786" r:id="rId32"/>
    <p:sldLayoutId id="2147483785" r:id="rId33"/>
  </p:sldLayoutIdLst>
  <p:hf hdr="0"/>
  <p:txStyles>
    <p:titleStyle>
      <a:lvl1pPr algn="l" defTabSz="801472" rtl="0" eaLnBrk="1" latinLnBrk="0" hangingPunct="1">
        <a:lnSpc>
          <a:spcPct val="85000"/>
        </a:lnSpc>
        <a:spcBef>
          <a:spcPct val="0"/>
        </a:spcBef>
        <a:buNone/>
        <a:defRPr sz="2104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12574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53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625148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7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937722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250296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2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562870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5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204047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6pPr>
      <a:lvl7pPr marL="2604783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7pPr>
      <a:lvl8pPr marL="3005519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8pPr>
      <a:lvl9pPr marL="3406254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1pPr>
      <a:lvl2pPr marL="40073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2pPr>
      <a:lvl3pPr marL="801472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3pPr>
      <a:lvl4pPr marL="1202207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4pPr>
      <a:lvl5pPr marL="1602943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5pPr>
      <a:lvl6pPr marL="2003679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6pPr>
      <a:lvl7pPr marL="2404415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7pPr>
      <a:lvl8pPr marL="2805151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8pPr>
      <a:lvl9pPr marL="320588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1.xml"/><Relationship Id="rId4" Type="http://schemas.openxmlformats.org/officeDocument/2006/relationships/image" Target="../media/image2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68FCFA1-3C97-B600-BABB-82F77A24DC9C}"/>
              </a:ext>
            </a:extLst>
          </p:cNvPr>
          <p:cNvSpPr/>
          <p:nvPr/>
        </p:nvSpPr>
        <p:spPr>
          <a:xfrm>
            <a:off x="1194" y="-2"/>
            <a:ext cx="2627705" cy="75596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11B10C-6A3E-BA03-C095-E624C3476328}"/>
              </a:ext>
            </a:extLst>
          </p:cNvPr>
          <p:cNvSpPr txBox="1">
            <a:spLocks/>
          </p:cNvSpPr>
          <p:nvPr/>
        </p:nvSpPr>
        <p:spPr>
          <a:xfrm>
            <a:off x="3682722" y="6771226"/>
            <a:ext cx="6259181" cy="276999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GB" sz="1800" b="0" dirty="0">
                <a:solidFill>
                  <a:schemeClr val="bg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7" name="Freeform 17">
            <a:extLst>
              <a:ext uri="{FF2B5EF4-FFF2-40B4-BE49-F238E27FC236}">
                <a16:creationId xmlns:a16="http://schemas.microsoft.com/office/drawing/2014/main" id="{63DF2E54-6CBC-DD45-82D7-CCEDE8387CF1}"/>
              </a:ext>
            </a:extLst>
          </p:cNvPr>
          <p:cNvSpPr>
            <a:spLocks/>
          </p:cNvSpPr>
          <p:nvPr/>
        </p:nvSpPr>
        <p:spPr bwMode="auto">
          <a:xfrm>
            <a:off x="4804919" y="797243"/>
            <a:ext cx="4014786" cy="35530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8" name="Title 35">
            <a:extLst>
              <a:ext uri="{FF2B5EF4-FFF2-40B4-BE49-F238E27FC236}">
                <a16:creationId xmlns:a16="http://schemas.microsoft.com/office/drawing/2014/main" id="{A6CE1489-4E46-9358-573B-6A61FCA2DA3A}"/>
              </a:ext>
            </a:extLst>
          </p:cNvPr>
          <p:cNvSpPr txBox="1">
            <a:spLocks/>
          </p:cNvSpPr>
          <p:nvPr/>
        </p:nvSpPr>
        <p:spPr>
          <a:xfrm>
            <a:off x="3680805" y="1414319"/>
            <a:ext cx="6263014" cy="574258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80147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500" b="1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88328F0-9996-C813-DF8A-05E83123EFE8}"/>
              </a:ext>
            </a:extLst>
          </p:cNvPr>
          <p:cNvSpPr txBox="1">
            <a:spLocks/>
          </p:cNvSpPr>
          <p:nvPr/>
        </p:nvSpPr>
        <p:spPr>
          <a:xfrm>
            <a:off x="3680805" y="238669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successfully completed the </a:t>
            </a:r>
            <a: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202</a:t>
            </a:r>
            <a:r>
              <a:rPr lang="pl-PL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5</a:t>
            </a:r>
            <a: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 </a:t>
            </a:r>
            <a:r>
              <a:rPr lang="pl-PL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EY Open Science AI &amp; Data Challenge</a:t>
            </a:r>
            <a:r>
              <a:rPr lang="en-GB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  <a:b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978308-D202-DBC5-98CF-8C8B570442F8}"/>
              </a:ext>
            </a:extLst>
          </p:cNvPr>
          <p:cNvSpPr txBox="1">
            <a:spLocks/>
          </p:cNvSpPr>
          <p:nvPr/>
        </p:nvSpPr>
        <p:spPr>
          <a:xfrm>
            <a:off x="3151029" y="5205508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1600" b="1" dirty="0">
                <a:solidFill>
                  <a:schemeClr val="bg1"/>
                </a:solidFill>
                <a:latin typeface="EYInterstate Light" panose="02000506000000020004" pitchFamily="2" charset="0"/>
              </a:rPr>
              <a:t>Catherine McCourt</a:t>
            </a:r>
            <a:endParaRPr lang="en-GB" sz="1600" b="1" dirty="0">
              <a:solidFill>
                <a:schemeClr val="bg1"/>
              </a:solidFill>
              <a:latin typeface="EYInterstate Light" panose="02000506000000020004" pitchFamily="2" charset="0"/>
            </a:endParaRPr>
          </a:p>
          <a:p>
            <a:pPr algn="ctr"/>
            <a:r>
              <a:rPr lang="en-GB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EY Global </a:t>
            </a:r>
            <a:r>
              <a:rPr lang="pl-PL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Technology Consulting </a:t>
            </a:r>
            <a:r>
              <a:rPr lang="en-GB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Leader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91AB0F5F-DF2A-0AD2-6293-4683FB75395D}"/>
              </a:ext>
            </a:extLst>
          </p:cNvPr>
          <p:cNvSpPr txBox="1">
            <a:spLocks/>
          </p:cNvSpPr>
          <p:nvPr/>
        </p:nvSpPr>
        <p:spPr>
          <a:xfrm>
            <a:off x="668074" y="6804892"/>
            <a:ext cx="1293944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/>
              <a:t>© 202</a:t>
            </a:r>
            <a:r>
              <a:rPr lang="pl-PL" sz="800" dirty="0"/>
              <a:t>5</a:t>
            </a:r>
            <a:r>
              <a:rPr lang="en-US" sz="800" dirty="0"/>
              <a:t> EYGM Limited. </a:t>
            </a:r>
            <a:r>
              <a:rPr lang="en-US" sz="800" dirty="0"/>
              <a:t>All Rights Reserved.</a:t>
            </a:r>
            <a:br>
              <a:rPr lang="en-US" sz="800" dirty="0"/>
            </a:br>
            <a:endParaRPr lang="en-GB" sz="8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7600B24-85FE-AC8A-9904-8B8062DDF449}"/>
              </a:ext>
            </a:extLst>
          </p:cNvPr>
          <p:cNvSpPr/>
          <p:nvPr/>
        </p:nvSpPr>
        <p:spPr>
          <a:xfrm>
            <a:off x="2628898" y="-1"/>
            <a:ext cx="177231" cy="7559676"/>
          </a:xfrm>
          <a:prstGeom prst="rect">
            <a:avLst/>
          </a:prstGeom>
          <a:solidFill>
            <a:srgbClr val="C4C4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01312AD-9B56-1C60-7BD2-06FF58B97A38}"/>
              </a:ext>
            </a:extLst>
          </p:cNvPr>
          <p:cNvSpPr/>
          <p:nvPr/>
        </p:nvSpPr>
        <p:spPr>
          <a:xfrm>
            <a:off x="2801323" y="0"/>
            <a:ext cx="177231" cy="7559673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93213F-C442-1A07-2609-EF42D2616734}"/>
              </a:ext>
            </a:extLst>
          </p:cNvPr>
          <p:cNvSpPr txBox="1">
            <a:spLocks/>
          </p:cNvSpPr>
          <p:nvPr/>
        </p:nvSpPr>
        <p:spPr>
          <a:xfrm>
            <a:off x="6711646" y="5205508"/>
            <a:ext cx="330778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EYInterstate Light" panose="02000506000000020004" pitchFamily="2" charset="0"/>
              </a:rPr>
              <a:t>Brian Killough, PhD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EY Open Science AI &amp; Data Challenge Program Director</a:t>
            </a:r>
          </a:p>
        </p:txBody>
      </p:sp>
      <p:sp>
        <p:nvSpPr>
          <p:cNvPr id="1" name="Text 1"/>
          <p:cNvSpPr txBox="1"/>
          <p:nvPr/>
        </p:nvSpPr>
        <p:spPr>
          <a:xfrm>
            <a:off x="5524500" y="1651000"/>
            <a:ext cx="2540000" cy="381000"/>
          </a:xfrm>
          <a:prstGeom prst="rect">
            <a:avLst/>
          </a:prstGeom>
          <a:noFill/>
        </p:spPr>
        <p:txBody>
          <a:bodyPr rtlCol="0" lIns="0" tIns="0" rIns="0" bIns="0" wrap="none" anchor="ctr"/>
          <a:lstStyle/>
          <a:p>
            <a:pPr algn="ctr"/>
            <a:r>
              <a:rPr lang="en-US" smtClean="0" sz="3200" b="1">
                <a:solidFill>
                  <a:srgbClr val="2E2E38"/>
                </a:solidFill>
                <a:latin typeface="EYInterstate Light (Body)" pitchFamily="0" charset="0"/>
                <a:cs typeface="EYInterstate Light (Body)" pitchFamily="0" charset="0"/>
              </a:rPr>
              <a:t>EVGENIA PAPOULI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ABFDC6A-DFDA-EB1D-DF03-C5B1E160FE68}"/>
              </a:ext>
            </a:extLst>
          </p:cNvPr>
          <p:cNvCxnSpPr>
            <a:cxnSpLocks/>
          </p:cNvCxnSpPr>
          <p:nvPr/>
        </p:nvCxnSpPr>
        <p:spPr>
          <a:xfrm>
            <a:off x="3680805" y="2188602"/>
            <a:ext cx="6263014" cy="0"/>
          </a:xfrm>
          <a:prstGeom prst="line">
            <a:avLst/>
          </a:prstGeom>
          <a:ln w="12700">
            <a:solidFill>
              <a:srgbClr val="747480"/>
            </a:solidFill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8B2BA2E-06CA-3778-D428-0CC3E4F7F0D8}"/>
              </a:ext>
            </a:extLst>
          </p:cNvPr>
          <p:cNvCxnSpPr>
            <a:cxnSpLocks/>
          </p:cNvCxnSpPr>
          <p:nvPr/>
        </p:nvCxnSpPr>
        <p:spPr>
          <a:xfrm>
            <a:off x="3645083" y="5140789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26FACFB-26DE-0925-A2A8-9C2E4E863C04}"/>
              </a:ext>
            </a:extLst>
          </p:cNvPr>
          <p:cNvCxnSpPr>
            <a:cxnSpLocks/>
          </p:cNvCxnSpPr>
          <p:nvPr/>
        </p:nvCxnSpPr>
        <p:spPr>
          <a:xfrm>
            <a:off x="7146325" y="5140789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A black and white sign with white text&#10;&#10;Description automatically generated">
            <a:extLst>
              <a:ext uri="{FF2B5EF4-FFF2-40B4-BE49-F238E27FC236}">
                <a16:creationId xmlns:a16="http://schemas.microsoft.com/office/drawing/2014/main" id="{1710EDCC-34CE-B1A2-4FE4-324EE8D16A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21" y="416229"/>
            <a:ext cx="1063049" cy="1157463"/>
          </a:xfrm>
          <a:prstGeom prst="rect">
            <a:avLst/>
          </a:prstGeom>
        </p:spPr>
      </p:pic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607639F-3825-179F-7E24-46908538CB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815" y="4427290"/>
            <a:ext cx="2324100" cy="723900"/>
          </a:xfrm>
          <a:prstGeom prst="rect">
            <a:avLst/>
          </a:prstGeom>
        </p:spPr>
      </p:pic>
      <p:pic>
        <p:nvPicPr>
          <p:cNvPr id="14" name="Picture 13" descr="A black and white drawing of a circle&#10;&#10;Description automatically generated">
            <a:extLst>
              <a:ext uri="{FF2B5EF4-FFF2-40B4-BE49-F238E27FC236}">
                <a16:creationId xmlns:a16="http://schemas.microsoft.com/office/drawing/2014/main" id="{95C4C7D3-D659-F544-44D2-D286415FDF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444" y="4270105"/>
            <a:ext cx="1995478" cy="701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6428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" id="{228E2B07-127F-4EFA-BB7B-042DF1A2D2B4}" vid="{129C5A64-0341-48F8-B982-E0BC87278477}"/>
    </a:ext>
  </a:extLst>
</a:theme>
</file>

<file path=ppt/theme/theme2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30A2D8000E9D4B8D7CE6D2E613C6F5" ma:contentTypeVersion="13" ma:contentTypeDescription="Create a new document." ma:contentTypeScope="" ma:versionID="5938e4ef7e56987ce38f2f8822d6490a">
  <xsd:schema xmlns:xsd="http://www.w3.org/2001/XMLSchema" xmlns:xs="http://www.w3.org/2001/XMLSchema" xmlns:p="http://schemas.microsoft.com/office/2006/metadata/properties" xmlns:ns2="6ea77fff-9a19-4023-9969-55be1f39f3a5" xmlns:ns3="ae2d13b0-d45e-4147-aff9-04bb18fdf11b" targetNamespace="http://schemas.microsoft.com/office/2006/metadata/properties" ma:root="true" ma:fieldsID="3d0e8946dd47530e1b03402afc81f8c7" ns2:_="" ns3:_="">
    <xsd:import namespace="6ea77fff-9a19-4023-9969-55be1f39f3a5"/>
    <xsd:import namespace="ae2d13b0-d45e-4147-aff9-04bb18fdf1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a77fff-9a19-4023-9969-55be1f39f3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2d13b0-d45e-4147-aff9-04bb18fdf11b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c38fe6c9-e26f-4ea7-b7ae-699701361c00}" ma:internalName="TaxCatchAll" ma:showField="CatchAllData" ma:web="ae2d13b0-d45e-4147-aff9-04bb18fdf1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
                        This value indicates the number of saves or revisions. The application is responsible for updating this value after each revision.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  <xs:attribute name="EntityNamespace" type="xs:string"/>
    <xs:attribute name="EntityName" type="xs:string"/>
    <xs:attribute name="SystemInstanceName" type="xs:string"/>
    <xs:attribute name="AssociationName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e2d13b0-d45e-4147-aff9-04bb18fdf11b" xsi:nil="true"/>
    <lcf76f155ced4ddcb4097134ff3c332f xmlns="6ea77fff-9a19-4023-9969-55be1f39f3a5">
      <Terms xmlns="http://schemas.microsoft.com/office/infopath/2007/PartnerControls"/>
    </lcf76f155ced4ddcb4097134ff3c332f>
    <SharedWithUsers xmlns="ae2d13b0-d45e-4147-aff9-04bb18fdf11b">
      <UserInfo>
        <DisplayName/>
        <AccountId xsi:nil="true"/>
        <AccountType/>
      </UserInfo>
    </SharedWithUsers>
    <MediaLengthInSeconds xmlns="6ea77fff-9a19-4023-9969-55be1f39f3a5" xsi:nil="true"/>
  </documentManagement>
</p:properties>
</file>

<file path=customXml/itemProps1.xml><?xml version="1.0" encoding="utf-8"?>
<ds:datastoreItem xmlns:ds="http://schemas.openxmlformats.org/officeDocument/2006/customXml" ds:itemID="{F70E37C4-81A6-4FF6-889B-12FF1A95A3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71F701D-06E5-46A4-B451-CACF89BE20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a77fff-9a19-4023-9969-55be1f39f3a5"/>
    <ds:schemaRef ds:uri="ae2d13b0-d45e-4147-aff9-04bb18fdf1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1EF11E8-5335-49BB-9BB1-EBCDE4F8353F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6ea77fff-9a19-4023-9969-55be1f39f3a5"/>
    <ds:schemaRef ds:uri="ae2d13b0-d45e-4147-aff9-04bb18fdf11b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Y</Template>
  <TotalTime>0</TotalTime>
  <Words>61</Words>
  <Application>Microsoft Office PowerPoint</Application>
  <PresentationFormat>Custom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EYInterstate</vt:lpstr>
      <vt:lpstr>EYInterstate Light</vt:lpstr>
      <vt:lpstr>Georgia</vt:lpstr>
      <vt:lpstr>Segoe UI</vt:lpstr>
      <vt:lpstr>EY</vt:lpstr>
      <vt:lpstr>EY light background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to certify that</dc:title>
  <dc:creator>Paula Smedley</dc:creator>
  <cp:lastModifiedBy>Anna Biel</cp:lastModifiedBy>
  <cp:revision>17</cp:revision>
  <dcterms:created xsi:type="dcterms:W3CDTF">2021-08-20T09:01:46Z</dcterms:created>
  <dcterms:modified xsi:type="dcterms:W3CDTF">2025-02-14T12:0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30A2D8000E9D4B8D7CE6D2E613C6F5</vt:lpwstr>
  </property>
  <property fmtid="{D5CDD505-2E9C-101B-9397-08002B2CF9AE}" pid="3" name="Order">
    <vt:r8>1348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</Properties>
</file>